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2"/>
  </p:notesMasterIdLst>
  <p:handoutMasterIdLst>
    <p:handoutMasterId r:id="rId5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04" r:id="rId31"/>
    <p:sldId id="276" r:id="rId32"/>
    <p:sldId id="284" r:id="rId33"/>
    <p:sldId id="275" r:id="rId34"/>
    <p:sldId id="295" r:id="rId35"/>
    <p:sldId id="297" r:id="rId36"/>
    <p:sldId id="293" r:id="rId37"/>
    <p:sldId id="294" r:id="rId38"/>
    <p:sldId id="271" r:id="rId39"/>
    <p:sldId id="274" r:id="rId40"/>
    <p:sldId id="277" r:id="rId41"/>
    <p:sldId id="280" r:id="rId42"/>
    <p:sldId id="279" r:id="rId43"/>
    <p:sldId id="292" r:id="rId44"/>
    <p:sldId id="291" r:id="rId45"/>
    <p:sldId id="310" r:id="rId46"/>
    <p:sldId id="308" r:id="rId47"/>
    <p:sldId id="309" r:id="rId48"/>
    <p:sldId id="290" r:id="rId49"/>
    <p:sldId id="281" r:id="rId50"/>
    <p:sldId id="289" r:id="rId5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31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31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979868"/>
            <a:ext cx="459351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0</TotalTime>
  <Words>3545</Words>
  <Application>Microsoft Office PowerPoint</Application>
  <PresentationFormat>Widescreen</PresentationFormat>
  <Paragraphs>465</Paragraphs>
  <Slides>50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60</cp:revision>
  <dcterms:created xsi:type="dcterms:W3CDTF">2018-08-19T15:50:37Z</dcterms:created>
  <dcterms:modified xsi:type="dcterms:W3CDTF">2018-10-31T17:36:14Z</dcterms:modified>
</cp:coreProperties>
</file>